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42" r:id="rId2"/>
    <p:sldId id="516" r:id="rId3"/>
    <p:sldId id="465" r:id="rId4"/>
    <p:sldId id="498" r:id="rId5"/>
    <p:sldId id="514" r:id="rId6"/>
    <p:sldId id="499" r:id="rId7"/>
    <p:sldId id="507" r:id="rId8"/>
    <p:sldId id="506" r:id="rId9"/>
    <p:sldId id="495" r:id="rId10"/>
    <p:sldId id="497" r:id="rId11"/>
    <p:sldId id="500" r:id="rId12"/>
    <p:sldId id="503" r:id="rId13"/>
    <p:sldId id="510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Malladi, Indira (US - Hyderabad)" initials="MI(-H" lastIdx="1" clrIdx="1">
    <p:extLst>
      <p:ext uri="{19B8F6BF-5375-455C-9EA6-DF929625EA0E}">
        <p15:presenceInfo xmlns:p15="http://schemas.microsoft.com/office/powerpoint/2012/main" userId="S-1-5-21-238447276-1040861923-1850952788-14794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6BC25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94799" autoAdjust="0"/>
  </p:normalViewPr>
  <p:slideViewPr>
    <p:cSldViewPr snapToGrid="0" showGuides="1">
      <p:cViewPr varScale="1">
        <p:scale>
          <a:sx n="63" d="100"/>
          <a:sy n="63" d="100"/>
        </p:scale>
        <p:origin x="820" y="64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7/27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7/2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236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457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mphasizes and encourages on Process fl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646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85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608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033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859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541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558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911035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1"/>
            <a:ext cx="12192000" cy="968374"/>
          </a:xfrm>
          <a:prstGeom prst="rect">
            <a:avLst/>
          </a:prstGeom>
          <a:solidFill>
            <a:schemeClr val="tx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7975" y="1347566"/>
            <a:ext cx="11274425" cy="4756781"/>
          </a:xfrm>
        </p:spPr>
        <p:txBody>
          <a:bodyPr/>
          <a:lstStyle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964" y="5390560"/>
            <a:ext cx="2147036" cy="152678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/>
          <p:cNvSpPr/>
          <p:nvPr userDrawn="1"/>
        </p:nvSpPr>
        <p:spPr bwMode="gray">
          <a:xfrm>
            <a:off x="0" y="969964"/>
            <a:ext cx="12192000" cy="17303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08A73E-23D2-402F-BDD1-34682B0C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122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66935" y="6453916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</a:rPr>
              <a:t>Introduction to DevOp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94685" y="6453916"/>
            <a:ext cx="3027415" cy="348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800" dirty="0"/>
              <a:t>The Incredible AI</a:t>
            </a:r>
          </a:p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endParaRPr lang="en-US" sz="8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pratyush773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twitter.com/yourpratyush" TargetMode="External"/><Relationship Id="rId4" Type="http://schemas.openxmlformats.org/officeDocument/2006/relationships/hyperlink" Target="https://www.instagram.com/theincredibleai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41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1400" y="1351625"/>
            <a:ext cx="4736548" cy="4154749"/>
          </a:xfrm>
        </p:spPr>
        <p:txBody>
          <a:bodyPr>
            <a:normAutofit/>
          </a:bodyPr>
          <a:lstStyle/>
          <a:p>
            <a:r>
              <a:rPr lang="en-US" dirty="0"/>
              <a:t>The Incredible A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74037B-B62D-468F-810D-38C837EF15DC}"/>
              </a:ext>
            </a:extLst>
          </p:cNvPr>
          <p:cNvSpPr txBox="1"/>
          <p:nvPr/>
        </p:nvSpPr>
        <p:spPr>
          <a:xfrm>
            <a:off x="8348871" y="5932278"/>
            <a:ext cx="353833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dirty="0"/>
              <a:t>Pratyush Kumar Sinha </a:t>
            </a:r>
          </a:p>
        </p:txBody>
      </p:sp>
    </p:spTree>
    <p:extLst>
      <p:ext uri="{BB962C8B-B14F-4D97-AF65-F5344CB8AC3E}">
        <p14:creationId xmlns:p14="http://schemas.microsoft.com/office/powerpoint/2010/main" val="12532182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261219" y="252470"/>
            <a:ext cx="11274425" cy="831519"/>
          </a:xfrm>
        </p:spPr>
        <p:txBody>
          <a:bodyPr/>
          <a:lstStyle/>
          <a:p>
            <a:pPr marL="669925" marR="0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chemeClr val="bg1"/>
                </a:solidFill>
              </a:rPr>
              <a:t>Challenges of AI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F8EFC7-F4F3-4B9B-BCDC-098FEB7F0046}"/>
              </a:ext>
            </a:extLst>
          </p:cNvPr>
          <p:cNvSpPr txBox="1"/>
          <p:nvPr/>
        </p:nvSpPr>
        <p:spPr>
          <a:xfrm>
            <a:off x="573720" y="1565932"/>
            <a:ext cx="8530524" cy="30008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Building Trust</a:t>
            </a:r>
          </a:p>
          <a:p>
            <a:pPr>
              <a:spcBef>
                <a:spcPts val="200"/>
              </a:spcBef>
              <a:buSzPct val="100000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AI Human Interface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Investment</a:t>
            </a:r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Higher Expectations</a:t>
            </a:r>
          </a:p>
        </p:txBody>
      </p:sp>
      <p:pic>
        <p:nvPicPr>
          <p:cNvPr id="6148" name="Picture 4" descr="Image result for challenges of AI">
            <a:extLst>
              <a:ext uri="{FF2B5EF4-FFF2-40B4-BE49-F238E27FC236}">
                <a16:creationId xmlns:a16="http://schemas.microsoft.com/office/drawing/2014/main" id="{C0C8847C-8008-4C06-A223-6B4CE70C3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5920" y="1219200"/>
            <a:ext cx="7589520" cy="503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095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3155" y="279240"/>
            <a:ext cx="11274425" cy="831519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Conclusion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F63A1B-4522-4D78-A7DE-CC91E09CC6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169" y="1372543"/>
            <a:ext cx="5516392" cy="4985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470D3F-969F-463E-83BE-505E1FFCEF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160" y="1372543"/>
            <a:ext cx="5297420" cy="498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82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568170" y="3429000"/>
            <a:ext cx="345341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3200" dirty="0"/>
              <a:t>Queries?</a:t>
            </a:r>
          </a:p>
        </p:txBody>
      </p:sp>
    </p:spTree>
    <p:extLst>
      <p:ext uri="{BB962C8B-B14F-4D97-AF65-F5344CB8AC3E}">
        <p14:creationId xmlns:p14="http://schemas.microsoft.com/office/powerpoint/2010/main" val="1079362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4550797" y="4719320"/>
            <a:ext cx="4572000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4400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9969E-B35E-4233-BC00-BBD77902FE5B}"/>
              </a:ext>
            </a:extLst>
          </p:cNvPr>
          <p:cNvSpPr txBox="1"/>
          <p:nvPr/>
        </p:nvSpPr>
        <p:spPr>
          <a:xfrm>
            <a:off x="1051560" y="1269305"/>
            <a:ext cx="9946640" cy="339580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dirty="0"/>
              <a:t>Reach out to me on:</a:t>
            </a:r>
          </a:p>
          <a:p>
            <a:pPr>
              <a:spcBef>
                <a:spcPts val="200"/>
              </a:spcBef>
              <a:buSzPct val="100000"/>
            </a:pPr>
            <a:endParaRPr lang="en-US" sz="1800" b="1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LinkedIn: </a:t>
            </a:r>
            <a:r>
              <a:rPr lang="en-US" sz="1800" dirty="0">
                <a:hlinkClick r:id="rId3"/>
              </a:rPr>
              <a:t>@pratyush773/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Instagram: </a:t>
            </a:r>
            <a:r>
              <a:rPr lang="en-US" sz="1800" dirty="0">
                <a:hlinkClick r:id="rId4"/>
              </a:rPr>
              <a:t>@</a:t>
            </a:r>
            <a:r>
              <a:rPr lang="en-US" sz="1800" dirty="0" err="1">
                <a:hlinkClick r:id="rId4"/>
              </a:rPr>
              <a:t>theincredibleai</a:t>
            </a:r>
            <a:r>
              <a:rPr lang="en-US" sz="1800" dirty="0">
                <a:hlinkClick r:id="rId4"/>
              </a:rPr>
              <a:t>/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Twitter: </a:t>
            </a:r>
            <a:r>
              <a:rPr lang="en-US" sz="1800" dirty="0">
                <a:hlinkClick r:id="rId5"/>
              </a:rPr>
              <a:t>@</a:t>
            </a:r>
            <a:r>
              <a:rPr lang="en-US" sz="1800" dirty="0" err="1">
                <a:hlinkClick r:id="rId5"/>
              </a:rPr>
              <a:t>yourpratyush</a:t>
            </a: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16808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FE1CEB-8418-4FAF-8633-2A421360F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5580" y="388620"/>
            <a:ext cx="3040380" cy="3040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453B39-6F8E-4C33-ABA6-DBCEA34F39A9}"/>
              </a:ext>
            </a:extLst>
          </p:cNvPr>
          <p:cNvSpPr txBox="1"/>
          <p:nvPr/>
        </p:nvSpPr>
        <p:spPr>
          <a:xfrm>
            <a:off x="3272498" y="3915640"/>
            <a:ext cx="7202461" cy="130805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b="1" dirty="0"/>
              <a:t>Pratyush Kumar Sinha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Business Technology Analyst at Deloitte consult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Tech Speaker, AI and Data science enthusiast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im is to make non tech people comfortable in AI.</a:t>
            </a:r>
          </a:p>
        </p:txBody>
      </p:sp>
    </p:spTree>
    <p:extLst>
      <p:ext uri="{BB962C8B-B14F-4D97-AF65-F5344CB8AC3E}">
        <p14:creationId xmlns:p14="http://schemas.microsoft.com/office/powerpoint/2010/main" val="11514223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7975" y="1347567"/>
            <a:ext cx="11274425" cy="3029124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What is AI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History of AI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Is AI really Artificial Intelligenc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Difference between human intelligence and Machine Intelligenc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Why AI is so popular now</a:t>
            </a:r>
            <a:r>
              <a:rPr lang="en-US" sz="1800" b="1" dirty="0">
                <a:solidFill>
                  <a:schemeClr val="bg1"/>
                </a:solidFill>
              </a:rPr>
              <a:t>.</a:t>
            </a:r>
            <a:endParaRPr lang="en-US" sz="18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Need of AI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Challenges of AI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Conclus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800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	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A4765F-2B3B-402D-B872-0AD719D65A9F}"/>
              </a:ext>
            </a:extLst>
          </p:cNvPr>
          <p:cNvSpPr/>
          <p:nvPr/>
        </p:nvSpPr>
        <p:spPr>
          <a:xfrm>
            <a:off x="205258" y="214010"/>
            <a:ext cx="19832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95376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j-lt"/>
                <a:cs typeface="Arvo"/>
              </a:rPr>
              <a:t>What is A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6BAC9A-A831-46A8-9034-9069889C990D}"/>
              </a:ext>
            </a:extLst>
          </p:cNvPr>
          <p:cNvSpPr txBox="1"/>
          <p:nvPr/>
        </p:nvSpPr>
        <p:spPr>
          <a:xfrm flipH="1">
            <a:off x="497904" y="1635760"/>
            <a:ext cx="3962336" cy="123110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just">
              <a:spcBef>
                <a:spcPts val="200"/>
              </a:spcBef>
              <a:buSzPct val="100000"/>
            </a:pPr>
            <a:r>
              <a:rPr lang="en-US" sz="2000" dirty="0"/>
              <a:t>Intelligence demonstrated by machines, in contrast to the natural intelligence displayed by humans.</a:t>
            </a:r>
          </a:p>
        </p:txBody>
      </p:sp>
      <p:pic>
        <p:nvPicPr>
          <p:cNvPr id="3074" name="Picture 2" descr="Image result for what is AI">
            <a:extLst>
              <a:ext uri="{FF2B5EF4-FFF2-40B4-BE49-F238E27FC236}">
                <a16:creationId xmlns:a16="http://schemas.microsoft.com/office/drawing/2014/main" id="{4A66F28F-C1A0-419C-BB0C-51E0CC9A7A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0346" y="1273349"/>
            <a:ext cx="7143750" cy="509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6784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How do REST APIs work with IDC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38B429-674C-4278-A716-92689F9BF6AF}"/>
              </a:ext>
            </a:extLst>
          </p:cNvPr>
          <p:cNvSpPr txBox="1"/>
          <p:nvPr/>
        </p:nvSpPr>
        <p:spPr>
          <a:xfrm>
            <a:off x="304800" y="293068"/>
            <a:ext cx="7513163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800" b="1" dirty="0">
                <a:solidFill>
                  <a:schemeClr val="bg1"/>
                </a:solidFill>
                <a:latin typeface="+mj-lt"/>
              </a:rPr>
              <a:t>What Experts say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C9925E-2D00-4FE5-8AD1-2DD92CCB9C14}"/>
              </a:ext>
            </a:extLst>
          </p:cNvPr>
          <p:cNvSpPr/>
          <p:nvPr/>
        </p:nvSpPr>
        <p:spPr>
          <a:xfrm>
            <a:off x="304800" y="1124587"/>
            <a:ext cx="9713843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C290C5-89A4-4E9A-9BAB-CD0EC63CB962}"/>
              </a:ext>
            </a:extLst>
          </p:cNvPr>
          <p:cNvSpPr/>
          <p:nvPr/>
        </p:nvSpPr>
        <p:spPr bwMode="gray">
          <a:xfrm>
            <a:off x="3764280" y="1809584"/>
            <a:ext cx="4663440" cy="180848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I is the new electricity.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-Andrew 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538040-B4F8-4552-B10D-1E826D1ADC74}"/>
              </a:ext>
            </a:extLst>
          </p:cNvPr>
          <p:cNvSpPr/>
          <p:nvPr/>
        </p:nvSpPr>
        <p:spPr bwMode="gray">
          <a:xfrm>
            <a:off x="6583239" y="4288624"/>
            <a:ext cx="4663440" cy="180848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ark my words — A.I. is far more dangerous than nukes.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-Elon Mus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58BCA3-72B3-45B4-A4F3-FF9E2CAC1373}"/>
              </a:ext>
            </a:extLst>
          </p:cNvPr>
          <p:cNvSpPr/>
          <p:nvPr/>
        </p:nvSpPr>
        <p:spPr bwMode="gray">
          <a:xfrm>
            <a:off x="945321" y="4288624"/>
            <a:ext cx="4663440" cy="180848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I technology could be impossible to control.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-Stephen Hawking</a:t>
            </a:r>
          </a:p>
        </p:txBody>
      </p:sp>
    </p:spTree>
    <p:extLst>
      <p:ext uri="{BB962C8B-B14F-4D97-AF65-F5344CB8AC3E}">
        <p14:creationId xmlns:p14="http://schemas.microsoft.com/office/powerpoint/2010/main" val="874900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87" y="271985"/>
            <a:ext cx="11274425" cy="831519"/>
          </a:xfrm>
        </p:spPr>
        <p:txBody>
          <a:bodyPr/>
          <a:lstStyle/>
          <a:p>
            <a:r>
              <a:rPr lang="en-US" sz="2800" b="1" dirty="0">
                <a:solidFill>
                  <a:schemeClr val="bg1"/>
                </a:solidFill>
              </a:rPr>
              <a:t>Is AI really Artificial Intelligence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B50070-A968-473A-8C41-DBCFB82BE1C0}"/>
              </a:ext>
            </a:extLst>
          </p:cNvPr>
          <p:cNvSpPr txBox="1"/>
          <p:nvPr/>
        </p:nvSpPr>
        <p:spPr>
          <a:xfrm>
            <a:off x="599440" y="1849120"/>
            <a:ext cx="10444480" cy="194925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endParaRPr lang="en-US" sz="2000" dirty="0"/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rtificial" is too artificial of a word for the AI equation. Augmented intelligence describes the essence of the technology in a more elegant and accurate way.</a:t>
            </a:r>
          </a:p>
        </p:txBody>
      </p:sp>
    </p:spTree>
    <p:extLst>
      <p:ext uri="{BB962C8B-B14F-4D97-AF65-F5344CB8AC3E}">
        <p14:creationId xmlns:p14="http://schemas.microsoft.com/office/powerpoint/2010/main" val="3623804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179" y="111330"/>
            <a:ext cx="11459641" cy="831519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Difference between human intelligence and Machine Intelligen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4B5C52-2283-4914-B086-1720A8EA8984}"/>
              </a:ext>
            </a:extLst>
          </p:cNvPr>
          <p:cNvSpPr/>
          <p:nvPr/>
        </p:nvSpPr>
        <p:spPr>
          <a:xfrm>
            <a:off x="3264807" y="503810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669925" marR="0">
              <a:spcBef>
                <a:spcPts val="0"/>
              </a:spcBef>
              <a:spcAft>
                <a:spcPts val="0"/>
              </a:spcAft>
            </a:pPr>
            <a:r>
              <a:rPr lang="en-US" sz="1800" dirty="0"/>
              <a:t>Human Intelligence is </a:t>
            </a:r>
            <a:r>
              <a:rPr lang="en-US" sz="1800" b="1" dirty="0"/>
              <a:t>General.</a:t>
            </a:r>
          </a:p>
          <a:p>
            <a:pPr marL="669925" marR="0">
              <a:spcBef>
                <a:spcPts val="0"/>
              </a:spcBef>
              <a:spcAft>
                <a:spcPts val="0"/>
              </a:spcAft>
            </a:pPr>
            <a:r>
              <a:rPr lang="en-US" sz="1800" dirty="0"/>
              <a:t>Machine Intelligence is </a:t>
            </a:r>
            <a:r>
              <a:rPr lang="en-US" sz="1800" b="1" dirty="0"/>
              <a:t>Limited.</a:t>
            </a:r>
          </a:p>
        </p:txBody>
      </p:sp>
      <p:pic>
        <p:nvPicPr>
          <p:cNvPr id="4098" name="Picture 2" descr="Image result for ai vs human intelligence">
            <a:extLst>
              <a:ext uri="{FF2B5EF4-FFF2-40B4-BE49-F238E27FC236}">
                <a16:creationId xmlns:a16="http://schemas.microsoft.com/office/drawing/2014/main" id="{C02DEE43-C8CE-4FE6-9A36-2E2FA6C47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167" y="1281748"/>
            <a:ext cx="8043273" cy="309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9765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C09AE5-BEFC-48BB-A70C-3B4431F6D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09924" y="270836"/>
            <a:ext cx="11274425" cy="831519"/>
          </a:xfrm>
        </p:spPr>
        <p:txBody>
          <a:bodyPr/>
          <a:lstStyle/>
          <a:p>
            <a:pPr marL="669925" marR="0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chemeClr val="bg1"/>
                </a:solidFill>
              </a:rPr>
              <a:t>Why AI is so popular now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7B6860-4C3A-4087-9B5A-7F502415863D}"/>
              </a:ext>
            </a:extLst>
          </p:cNvPr>
          <p:cNvSpPr/>
          <p:nvPr/>
        </p:nvSpPr>
        <p:spPr>
          <a:xfrm>
            <a:off x="556939" y="161626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There are two fuels of AI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achine Computatio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F0391D-E15A-44ED-B13E-EAB00437E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8240" y="1798320"/>
            <a:ext cx="6666821" cy="394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810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30347" y="270323"/>
            <a:ext cx="11352982" cy="831519"/>
          </a:xfrm>
        </p:spPr>
        <p:txBody>
          <a:bodyPr/>
          <a:lstStyle/>
          <a:p>
            <a:pPr marL="669925" marR="0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chemeClr val="bg1"/>
                </a:solidFill>
              </a:rPr>
              <a:t>Need of AI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idx="1"/>
          </p:nvPr>
        </p:nvSpPr>
        <p:spPr>
          <a:xfrm>
            <a:off x="602947" y="1448796"/>
            <a:ext cx="4172253" cy="3996965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ork in hazardous environment as human life is more valuable than mach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edical negligence - 70% of deaths are a result of miscommunication.</a:t>
            </a:r>
          </a:p>
          <a:p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28BE9D4-3FBE-4235-B047-220AC661F0DC}"/>
              </a:ext>
            </a:extLst>
          </p:cNvPr>
          <p:cNvSpPr txBox="1">
            <a:spLocks/>
          </p:cNvSpPr>
          <p:nvPr/>
        </p:nvSpPr>
        <p:spPr>
          <a:xfrm>
            <a:off x="304800" y="1430518"/>
            <a:ext cx="11514425" cy="4077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2" name="Picture 2" descr="Image result for Need of AI">
            <a:extLst>
              <a:ext uri="{FF2B5EF4-FFF2-40B4-BE49-F238E27FC236}">
                <a16:creationId xmlns:a16="http://schemas.microsoft.com/office/drawing/2014/main" id="{586D1B6C-D984-43B9-9B81-C97E917ED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4200" y="1661181"/>
            <a:ext cx="5915025" cy="394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5299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96</TotalTime>
  <Words>286</Words>
  <Application>Microsoft Office PowerPoint</Application>
  <PresentationFormat>Widescreen</PresentationFormat>
  <Paragraphs>81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rvo</vt:lpstr>
      <vt:lpstr>Open Sans</vt:lpstr>
      <vt:lpstr>Verdana</vt:lpstr>
      <vt:lpstr>Wingdings</vt:lpstr>
      <vt:lpstr>Wingdings 2</vt:lpstr>
      <vt:lpstr>Deloitte_US_Onscreen</vt:lpstr>
      <vt:lpstr>think-cell Slide</vt:lpstr>
      <vt:lpstr>The Incredible AI</vt:lpstr>
      <vt:lpstr>PowerPoint Presentation</vt:lpstr>
      <vt:lpstr> </vt:lpstr>
      <vt:lpstr>What are REST APIs?</vt:lpstr>
      <vt:lpstr>How do REST APIs work with IDCS?</vt:lpstr>
      <vt:lpstr>Is AI really Artificial Intelligence?</vt:lpstr>
      <vt:lpstr>Difference between human intelligence and Machine Intelligence</vt:lpstr>
      <vt:lpstr>Why AI is so popular now.</vt:lpstr>
      <vt:lpstr>Need of AI</vt:lpstr>
      <vt:lpstr>Challenges of AI</vt:lpstr>
      <vt:lpstr>Conclusion 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acle Analytics Cloud  Lift and Shift Options</dc:title>
  <dc:creator>Malladi, Indira (US - Hyderabad)</dc:creator>
  <cp:lastModifiedBy>Administrator</cp:lastModifiedBy>
  <cp:revision>237</cp:revision>
  <cp:lastPrinted>2014-06-25T02:16:22Z</cp:lastPrinted>
  <dcterms:created xsi:type="dcterms:W3CDTF">2019-03-14T14:34:45Z</dcterms:created>
  <dcterms:modified xsi:type="dcterms:W3CDTF">2019-07-27T04:27:27Z</dcterms:modified>
</cp:coreProperties>
</file>